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2.xml" ContentType="application/vnd.openxmlformats-officedocument.presentationml.tags+xml"/>
  <Override PartName="/ppt/notesSlides/notesSlide2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7.xml" ContentType="application/vnd.openxmlformats-officedocument.presentationml.notesSlide+xml"/>
  <Override PartName="/ppt/comments/comment3.xml" ContentType="application/vnd.openxmlformats-officedocument.presentationml.comment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8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2"/>
  </p:notesMasterIdLst>
  <p:handoutMasterIdLst>
    <p:handoutMasterId r:id="rId103"/>
  </p:handoutMasterIdLst>
  <p:sldIdLst>
    <p:sldId id="256" r:id="rId7"/>
    <p:sldId id="433" r:id="rId8"/>
    <p:sldId id="373" r:id="rId9"/>
    <p:sldId id="416" r:id="rId10"/>
    <p:sldId id="417" r:id="rId11"/>
    <p:sldId id="418" r:id="rId12"/>
    <p:sldId id="419" r:id="rId13"/>
    <p:sldId id="370" r:id="rId14"/>
    <p:sldId id="369" r:id="rId15"/>
    <p:sldId id="378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0" r:id="rId26"/>
    <p:sldId id="311" r:id="rId27"/>
    <p:sldId id="312" r:id="rId28"/>
    <p:sldId id="313" r:id="rId29"/>
    <p:sldId id="314" r:id="rId30"/>
    <p:sldId id="315" r:id="rId31"/>
    <p:sldId id="316" r:id="rId32"/>
    <p:sldId id="399" r:id="rId33"/>
    <p:sldId id="400" r:id="rId34"/>
    <p:sldId id="401" r:id="rId35"/>
    <p:sldId id="402" r:id="rId36"/>
    <p:sldId id="403" r:id="rId37"/>
    <p:sldId id="404" r:id="rId38"/>
    <p:sldId id="405" r:id="rId39"/>
    <p:sldId id="420" r:id="rId40"/>
    <p:sldId id="421" r:id="rId41"/>
    <p:sldId id="424" r:id="rId42"/>
    <p:sldId id="423" r:id="rId43"/>
    <p:sldId id="422" r:id="rId44"/>
    <p:sldId id="374" r:id="rId45"/>
    <p:sldId id="382" r:id="rId46"/>
    <p:sldId id="318" r:id="rId47"/>
    <p:sldId id="425" r:id="rId48"/>
    <p:sldId id="320" r:id="rId49"/>
    <p:sldId id="426" r:id="rId50"/>
    <p:sldId id="427" r:id="rId51"/>
    <p:sldId id="323" r:id="rId52"/>
    <p:sldId id="428" r:id="rId53"/>
    <p:sldId id="429" r:id="rId54"/>
    <p:sldId id="324" r:id="rId55"/>
    <p:sldId id="430" r:id="rId56"/>
    <p:sldId id="432" r:id="rId57"/>
    <p:sldId id="431" r:id="rId58"/>
    <p:sldId id="325" r:id="rId59"/>
    <p:sldId id="327" r:id="rId60"/>
    <p:sldId id="328" r:id="rId61"/>
    <p:sldId id="394" r:id="rId62"/>
    <p:sldId id="329" r:id="rId63"/>
    <p:sldId id="368" r:id="rId64"/>
    <p:sldId id="408" r:id="rId65"/>
    <p:sldId id="409" r:id="rId66"/>
    <p:sldId id="410" r:id="rId67"/>
    <p:sldId id="411" r:id="rId68"/>
    <p:sldId id="412" r:id="rId69"/>
    <p:sldId id="413" r:id="rId70"/>
    <p:sldId id="414" r:id="rId71"/>
    <p:sldId id="395" r:id="rId72"/>
    <p:sldId id="396" r:id="rId73"/>
    <p:sldId id="375" r:id="rId74"/>
    <p:sldId id="398" r:id="rId75"/>
    <p:sldId id="397" r:id="rId76"/>
    <p:sldId id="359" r:id="rId77"/>
    <p:sldId id="360" r:id="rId78"/>
    <p:sldId id="376" r:id="rId79"/>
    <p:sldId id="343" r:id="rId80"/>
    <p:sldId id="344" r:id="rId81"/>
    <p:sldId id="345" r:id="rId82"/>
    <p:sldId id="361" r:id="rId83"/>
    <p:sldId id="347" r:id="rId84"/>
    <p:sldId id="348" r:id="rId85"/>
    <p:sldId id="362" r:id="rId86"/>
    <p:sldId id="352" r:id="rId87"/>
    <p:sldId id="353" r:id="rId88"/>
    <p:sldId id="354" r:id="rId89"/>
    <p:sldId id="363" r:id="rId90"/>
    <p:sldId id="364" r:id="rId91"/>
    <p:sldId id="377" r:id="rId92"/>
    <p:sldId id="350" r:id="rId93"/>
    <p:sldId id="355" r:id="rId94"/>
    <p:sldId id="349" r:id="rId95"/>
    <p:sldId id="357" r:id="rId96"/>
    <p:sldId id="358" r:id="rId97"/>
    <p:sldId id="406" r:id="rId98"/>
    <p:sldId id="407" r:id="rId99"/>
    <p:sldId id="434" r:id="rId100"/>
    <p:sldId id="299" r:id="rId101"/>
  </p:sldIdLst>
  <p:sldSz cx="9144000" cy="6858000" type="screen4x3"/>
  <p:notesSz cx="7023100" cy="9309100"/>
  <p:custDataLst>
    <p:tags r:id="rId10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1518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viewProps" Target="viewProps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handoutMaster" Target="handoutMasters/handoutMaster1.xml"/><Relationship Id="rId108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presProps" Target="presProp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tableStyles" Target="tableStyle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tags" Target="tags/tag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8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8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7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7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8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4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38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39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4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4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5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5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56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octoral Thesis in Applied Mathematics </a:t>
            </a:r>
            <a:br>
              <a:rPr lang="en-US" dirty="0"/>
            </a:br>
            <a:r>
              <a:rPr lang="en-US" dirty="0"/>
              <a:t>	</a:t>
            </a:r>
            <a:r>
              <a:rPr lang="en-US"/>
              <a:t>Defense Present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March 2019</a:t>
            </a:r>
          </a:p>
          <a:p>
            <a:r>
              <a:rPr lang="en-US" dirty="0"/>
              <a:t>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588BC-4944-4B47-AE23-F05B6CE4E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D31553-C5DB-4BB8-B191-D51EDED36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How to get into fine restaurant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0CF532-BA97-4124-A199-38EA2732F7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Proposed framework:</a:t>
            </a:r>
          </a:p>
          <a:p>
            <a:r>
              <a:rPr lang="en-US" dirty="0"/>
              <a:t>Overview</a:t>
            </a:r>
          </a:p>
          <a:p>
            <a:r>
              <a:rPr lang="en-US" dirty="0"/>
              <a:t>Avoidance Run </a:t>
            </a:r>
          </a:p>
          <a:p>
            <a:r>
              <a:rPr lang="en-US" dirty="0"/>
              <a:t>UTM Implementation</a:t>
            </a:r>
          </a:p>
          <a:p>
            <a:r>
              <a:rPr lang="en-US" dirty="0"/>
              <a:t>Rule Engin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Simulations:</a:t>
            </a:r>
          </a:p>
          <a:p>
            <a:r>
              <a:rPr lang="en-US" dirty="0"/>
              <a:t>Test Plan</a:t>
            </a:r>
          </a:p>
          <a:p>
            <a:r>
              <a:rPr lang="en-US" dirty="0"/>
              <a:t>Obstacle avoidance</a:t>
            </a:r>
          </a:p>
          <a:p>
            <a:r>
              <a:rPr lang="en-US" dirty="0"/>
              <a:t>Weather avoidance</a:t>
            </a:r>
          </a:p>
          <a:p>
            <a:r>
              <a:rPr lang="en-US" dirty="0"/>
              <a:t>Rules of the Air</a:t>
            </a:r>
          </a:p>
          <a:p>
            <a:r>
              <a:rPr lang="en-US" dirty="0"/>
              <a:t>Cooperative vs. Noncooperativ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 err="1"/>
              <a:t>Colclusion</a:t>
            </a:r>
            <a:endParaRPr lang="en-US" i="1" u="sng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AFAD75-594A-4EAA-8F0B-C26E5CD4B22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44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75</TotalTime>
  <Words>4095</Words>
  <Application>Microsoft Office PowerPoint</Application>
  <PresentationFormat>On-screen Show (4:3)</PresentationFormat>
  <Paragraphs>1263</Paragraphs>
  <Slides>95</Slides>
  <Notes>57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11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25</cp:revision>
  <cp:lastPrinted>2015-07-29T21:30:37Z</cp:lastPrinted>
  <dcterms:created xsi:type="dcterms:W3CDTF">2017-09-21T08:49:16Z</dcterms:created>
  <dcterms:modified xsi:type="dcterms:W3CDTF">2019-02-28T15:00:33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